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58" r:id="rId3"/>
    <p:sldId id="257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B3C3"/>
    <a:srgbClr val="450090"/>
    <a:srgbClr val="8313A5"/>
    <a:srgbClr val="E3008E"/>
    <a:srgbClr val="DA0000"/>
    <a:srgbClr val="0050D3"/>
    <a:srgbClr val="8313A6"/>
    <a:srgbClr val="ED1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985" autoAdjust="0"/>
    <p:restoredTop sz="94660"/>
  </p:normalViewPr>
  <p:slideViewPr>
    <p:cSldViewPr snapToGrid="0">
      <p:cViewPr varScale="1">
        <p:scale>
          <a:sx n="68" d="100"/>
          <a:sy n="68" d="100"/>
        </p:scale>
        <p:origin x="30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45DFC2-41A0-4B64-A87B-00C5AB2157F5}" type="datetimeFigureOut">
              <a:rPr lang="en-IN" smtClean="0"/>
              <a:t>05-10-2020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C6C2FD-73B8-4863-B2E2-16113EE29E0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949927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798ED6-A5CE-4189-8EE9-75B33B087D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3F0F45-D0BD-479E-9FE7-F85F3341C9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50D9E-D68C-418E-8F81-E2E525FA2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8B9A8-D7F6-48FA-AA5D-93D99ACEA555}" type="datetime1">
              <a:rPr lang="en-IN" smtClean="0"/>
              <a:t>05-10-2020</a:t>
            </a:fld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74FFE3-668B-4D58-954E-266D54493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D15752E-46FD-4782-BFF1-72CA35D6E6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721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69300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C0E81-36CD-483E-B3B2-F64F30377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EEB124-BD08-46AE-873B-3CDFFE8107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37E46-0A04-4EC4-A98A-2E7E283DE8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3039E-9AF3-44EE-A6C8-2C82C2B4EDA0}" type="datetime1">
              <a:rPr lang="en-IN" smtClean="0"/>
              <a:t>05-10-2020</a:t>
            </a:fld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04D8FB-9FB0-443B-8083-D6FA1629D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B79915F-44D9-4F7A-AA41-67812F0B6BEC}"/>
              </a:ext>
            </a:extLst>
          </p:cNvPr>
          <p:cNvSpPr txBox="1">
            <a:spLocks/>
          </p:cNvSpPr>
          <p:nvPr userDrawn="1"/>
        </p:nvSpPr>
        <p:spPr>
          <a:xfrm>
            <a:off x="4191000" y="65087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441330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025C763-C31F-4491-B74F-05E18D6EE6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E2DC39-F8E4-4B40-8BF6-2B65BE1007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C2880-DA89-450D-917E-7BEE1C44A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EC548-3332-4F86-AA80-C340688F18AF}" type="datetime1">
              <a:rPr lang="en-IN" smtClean="0"/>
              <a:t>05-10-2020</a:t>
            </a:fld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2AD4B4-58CE-4A7F-8F48-B6988F602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9C28F5E3-17AC-444E-BF2A-C58D10C139CD}"/>
              </a:ext>
            </a:extLst>
          </p:cNvPr>
          <p:cNvSpPr txBox="1">
            <a:spLocks/>
          </p:cNvSpPr>
          <p:nvPr userDrawn="1"/>
        </p:nvSpPr>
        <p:spPr>
          <a:xfrm>
            <a:off x="4191000" y="65087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13542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75B222-A39C-471B-848B-CA2BE70F58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B96010-D522-4FD4-94F6-A64F8BF646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3B4BFA-704C-464F-85F5-F821A63AF7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B97B62-694E-407A-9128-37CCAF39A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B9021-28F7-4DA8-B353-267508CE1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9157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7D68ED-6618-47C4-B30D-046136137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A04F2-25F3-46FD-9DA4-C10F6724D2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7D42E-FE3E-47D2-B485-28C046495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779780-7564-4FF8-BD29-5234ADF50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81F973-FD62-47B3-83AB-A36BD7304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0286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D067B3-31CF-4B48-A9E9-A3C05C70C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1C872D-1143-48B6-953D-3941D9FD82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2C07F-B62A-47CA-92AB-F30366058D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874057-6E4D-4102-998F-938D77D0B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50BAC8-2658-4EE8-8378-8328060C9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0075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33170-E5C6-4052-9C0E-E5FE9E700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461A3-EEDC-47A3-8259-D06CC04C3E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CD16B0-6A20-4FC9-A53C-51C210F060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CFAC41-14E8-41DC-AD79-5316F7FA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1E92B9-BBB6-4A63-B5E3-542CBAC2C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865DFC-E086-4B06-ABAA-10D20C2F7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1043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132E2-3844-48DC-BDF2-FD9AF63EC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53B078-CFFA-415A-AD8A-D781DAD4E4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CCE6BB-1ACF-47D2-950E-5AA5AD053C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8B0163-8D11-4961-ADA2-A7CFA0D785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13CD91-4F1A-41C5-9757-6D0681B310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6396094-91D4-44F4-971D-BCE824226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DEC705-4EB4-4AEC-BEA2-AFDC30809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B1EFCB3-7CCA-4729-A8B4-E100B3051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640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B28A5-26E3-4666-846D-25E37B8CD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D6AC3E-0429-446F-834F-2110295A8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C6759B-125C-48AA-9889-E07CA8757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47C24A-40A1-4210-8EA5-A600FA18E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0062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0E91DA-C7EC-4BE0-A63F-CF34B7B82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0EB062-FFC8-40A1-AAD9-6952FBD38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D35DAF-4F9F-42F3-9BE4-D8708627F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015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8E5C2-9ADB-4861-ACE8-C484C4B6D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2A4A19-013E-40F3-BABE-DD018F5AD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200CA4-AF65-4EDE-8B60-50FE9CF7D3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FF9E61-5776-4123-9A95-E90F60899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080741-6B8E-47D3-B522-A3CB5924A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41CFF0-B646-4C10-B01D-DA51119EE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712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D559D-D578-44BD-8793-CA58B4202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EBDBD6-9D0B-49A3-8610-0CF39A406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1A3554-5409-4DA0-A7C0-DD78BC34C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D2FA26-916F-4040-99EE-AC87D0F6ACEA}" type="datetime1">
              <a:rPr lang="en-IN" smtClean="0"/>
              <a:t>05-10-2020</a:t>
            </a:fld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07A40-239A-4D12-9ED1-6738F55AB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10AF7345-0CEE-463E-B48B-DED828087A65}"/>
              </a:ext>
            </a:extLst>
          </p:cNvPr>
          <p:cNvSpPr txBox="1">
            <a:spLocks/>
          </p:cNvSpPr>
          <p:nvPr userDrawn="1"/>
        </p:nvSpPr>
        <p:spPr>
          <a:xfrm>
            <a:off x="4178808" y="655351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ww.youtube.com/powerupwithpowerpoint</a:t>
            </a:r>
            <a:endParaRPr lang="en-IN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0763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517BD-0E79-4920-B42D-3197BDD4E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BDFBD9-F1A4-4D11-95DF-3161D70731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43606-1A9A-4F2E-A800-93D1D623BA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9B07AB-B7A2-42A8-9BB7-EEEAA1146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3C2030-53C7-483B-A278-5EAEC9270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758519-D72B-45D2-B74E-1915FB64F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682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38FE6-B968-475A-BDBC-DFD0E2261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D66738-91B4-42D8-B699-6810371616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848546-AA3C-43BD-8CB6-3686FD7061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88D659-321F-494D-8927-8ABF22779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5A87D-8D65-42F6-B685-EF2E6426D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7405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62A44C-4B51-4A70-9B55-F6C7FE9C18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318D37-C113-4802-A337-92E8AE306F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34C59-1D4F-42C0-82A6-971A21FC1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DBE1B-C80A-4294-82A6-4AAA3C6C7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20DF4-AD0A-4839-87E8-8819CCBBF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11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0F838-ED20-4521-834B-036D3A6E2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6E7D44-2505-47E8-B023-AF04EF5A1B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E6BEA9-8660-4FCE-9E24-5AEF310E6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C3FB89-3DFF-4726-B4EC-06DF2849D21E}" type="datetime1">
              <a:rPr lang="en-IN" smtClean="0"/>
              <a:t>05-10-2020</a:t>
            </a:fld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7403C5-9282-400E-A466-07DCCF5DD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BF459AA-BF66-4B98-B5F9-1BA73A66D7A9}"/>
              </a:ext>
            </a:extLst>
          </p:cNvPr>
          <p:cNvSpPr txBox="1">
            <a:spLocks/>
          </p:cNvSpPr>
          <p:nvPr userDrawn="1"/>
        </p:nvSpPr>
        <p:spPr>
          <a:xfrm>
            <a:off x="4191000" y="65087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57460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0A954-80F1-4939-88FD-E70BFB917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153046-D045-4F2E-A167-F92329891E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ED7755-1BEA-455E-A20F-F2DE09DC6B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9E12A0-9FE2-48EE-B266-D87E77C03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A5C81-D983-402C-9852-0522EF65CE32}" type="datetime1">
              <a:rPr lang="en-IN" smtClean="0"/>
              <a:t>05-10-2020</a:t>
            </a:fld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F5845E-9140-476A-A4D1-5718EE208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A427DCD7-A5B8-477B-B4BC-918263CDB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2845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88E47-A85B-4EAA-B7B8-D828B1804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7DA3A6-0A23-4FC5-A3EB-01771D3BE9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264197-F04D-4446-8ED5-731F532967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D08BA2-02C3-4355-9BFC-FC992BC98A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473CEF-BD82-4450-AA05-4F0B2D0E4D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00AA21-5C08-46F0-B6D4-B15182A3C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6FB32-8D78-4FF7-8E7B-336B7AFD0A42}" type="datetime1">
              <a:rPr lang="en-IN" smtClean="0"/>
              <a:t>05-10-2020</a:t>
            </a:fld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EA89C9-B973-4A47-B771-4F0DE0BCA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B02A19C-371F-41FF-9752-F5A991CD5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05769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FA570-BC68-4458-BCC7-A05B289D9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AA70F0-EBB5-4B98-9E4A-A80FC3E800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3DB1AA-189B-4B5D-9609-994B6A61D7B0}" type="datetime1">
              <a:rPr lang="en-IN" smtClean="0"/>
              <a:t>05-10-2020</a:t>
            </a:fld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AB1C2B-415D-4B79-9503-AAC970E10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AEC89A28-BD6C-4F56-881D-5F49210F7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963326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0452F0-F408-4EED-B93C-B896FD6F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C88C0-30EF-4869-A317-F764287A134A}" type="datetime1">
              <a:rPr lang="en-IN" smtClean="0"/>
              <a:t>05-10-2020</a:t>
            </a:fld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F87039-F534-43C0-A2DF-4A7E7B0B8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0F4FFA30-DA55-4E2C-A12B-9055992A0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544076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B3E8E-B0AA-4D9C-B0A4-4876A5165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9B9F83-C33A-461E-807F-5DEEC67297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543311-612D-4F79-B8C8-F95A82A9E9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C3249-42BF-4350-ADE8-15CA7F276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A7F13-959D-440D-B225-685EFA655C10}" type="datetime1">
              <a:rPr lang="en-IN" smtClean="0"/>
              <a:t>05-10-2020</a:t>
            </a:fld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BFBCAD-BC63-4EAF-8940-2BE9378F30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00790923-8F8E-452D-8E83-DA2A52993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29807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DA7B5F-5279-4B00-AD72-FC6C0C009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AA0E2F-DAC9-41B1-8DA7-CE2C114BD8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036919-DB0E-4A99-9DA2-F1F26C62A4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4DD0F9-C789-4486-B662-EB189A24E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1E070-1DB9-48C3-A639-4287C4BCD695}" type="datetime1">
              <a:rPr lang="en-IN" smtClean="0"/>
              <a:t>05-10-2020</a:t>
            </a:fld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CB09DB-2070-437C-ACDA-ED1EEB28B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B63CE1BC-A4C0-4648-A3BF-9429C2025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8500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8619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901A8A-F959-4549-B11A-171C31005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8CD7C0-37B6-4189-9ACD-C6C8631098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A5450-7EE8-4056-9D76-1F1DD91156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90B695-DB94-4B65-A974-B656D03A7C7A}" type="datetime1">
              <a:rPr lang="en-IN" smtClean="0"/>
              <a:t>05-10-2020</a:t>
            </a:fld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275964-07BC-4781-8BF0-46B6C274D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ABAD81-D793-4BAA-B0F0-1DA1837B65B1}" type="slidenum">
              <a:rPr lang="en-IN" smtClean="0"/>
              <a:t>‹#›</a:t>
            </a:fld>
            <a:endParaRPr lang="en-IN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D15752E-46FD-4782-BFF1-72CA35D6E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4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Economica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ww.youtube.com/c/powerupwithpowerpoin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13926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36618A1-221A-4966-9C36-7023C2B53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A61AC9-A101-4D5B-AA26-63AD8B693E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04865F-3DA0-4DAC-BBC0-426E6B6561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79E6E5-AE8C-4C44-95C9-DB76BDB50B11}" type="datetimeFigureOut">
              <a:rPr lang="en-US" smtClean="0"/>
              <a:t>10/5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F91E1-6385-4751-9F51-2FE447338F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117EDA-9637-4856-955E-733D19CAEE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C8AB4E-D2BB-4865-968C-13383E9AC7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578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83000">
              <a:srgbClr val="BCC4C6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47775BBE-648E-43F5-9007-5144098B23ED}"/>
              </a:ext>
            </a:extLst>
          </p:cNvPr>
          <p:cNvSpPr/>
          <p:nvPr/>
        </p:nvSpPr>
        <p:spPr>
          <a:xfrm>
            <a:off x="2651108" y="5154495"/>
            <a:ext cx="6330984" cy="1407842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  <a:alpha val="0"/>
                </a:schemeClr>
              </a:gs>
              <a:gs pos="83000">
                <a:schemeClr val="tx1">
                  <a:lumMod val="75000"/>
                  <a:lumOff val="25000"/>
                  <a:alpha val="86000"/>
                </a:schemeClr>
              </a:gs>
            </a:gsLst>
            <a:lin ang="0" scaled="1"/>
            <a:tileRect/>
          </a:gra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C4BFD768-8016-44F5-A9AB-BFD03C3AD7CB}"/>
              </a:ext>
            </a:extLst>
          </p:cNvPr>
          <p:cNvSpPr/>
          <p:nvPr/>
        </p:nvSpPr>
        <p:spPr>
          <a:xfrm>
            <a:off x="5007992" y="5257839"/>
            <a:ext cx="3368138" cy="869324"/>
          </a:xfrm>
          <a:custGeom>
            <a:avLst/>
            <a:gdLst>
              <a:gd name="connsiteX0" fmla="*/ 1 w 3368138"/>
              <a:gd name="connsiteY0" fmla="*/ 0 h 869324"/>
              <a:gd name="connsiteX1" fmla="*/ 3368138 w 3368138"/>
              <a:gd name="connsiteY1" fmla="*/ 0 h 869324"/>
              <a:gd name="connsiteX2" fmla="*/ 3368138 w 3368138"/>
              <a:gd name="connsiteY2" fmla="*/ 579549 h 869324"/>
              <a:gd name="connsiteX3" fmla="*/ 1684069 w 3368138"/>
              <a:gd name="connsiteY3" fmla="*/ 869324 h 869324"/>
              <a:gd name="connsiteX4" fmla="*/ 0 w 3368138"/>
              <a:gd name="connsiteY4" fmla="*/ 579549 h 869324"/>
              <a:gd name="connsiteX5" fmla="*/ 1 w 3368138"/>
              <a:gd name="connsiteY5" fmla="*/ 579547 h 869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8138" h="869324">
                <a:moveTo>
                  <a:pt x="1" y="0"/>
                </a:moveTo>
                <a:lnTo>
                  <a:pt x="3368138" y="0"/>
                </a:lnTo>
                <a:lnTo>
                  <a:pt x="3368138" y="579549"/>
                </a:lnTo>
                <a:cubicBezTo>
                  <a:pt x="3368138" y="739587"/>
                  <a:pt x="2614155" y="869324"/>
                  <a:pt x="1684069" y="869324"/>
                </a:cubicBezTo>
                <a:cubicBezTo>
                  <a:pt x="753983" y="869324"/>
                  <a:pt x="0" y="739587"/>
                  <a:pt x="0" y="579549"/>
                </a:cubicBezTo>
                <a:lnTo>
                  <a:pt x="1" y="579547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97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6890664-597D-4C09-B778-C5E5266D4AF3}"/>
              </a:ext>
            </a:extLst>
          </p:cNvPr>
          <p:cNvSpPr/>
          <p:nvPr/>
        </p:nvSpPr>
        <p:spPr>
          <a:xfrm>
            <a:off x="5007995" y="4968066"/>
            <a:ext cx="3368137" cy="579549"/>
          </a:xfrm>
          <a:prstGeom prst="ellipse">
            <a:avLst/>
          </a:prstGeom>
          <a:gradFill>
            <a:gsLst>
              <a:gs pos="0">
                <a:srgbClr val="BFA8D6"/>
              </a:gs>
              <a:gs pos="83000">
                <a:srgbClr val="9690CB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636DD7C-B9FD-48FE-855D-CBF632F36687}"/>
              </a:ext>
            </a:extLst>
          </p:cNvPr>
          <p:cNvGrpSpPr/>
          <p:nvPr/>
        </p:nvGrpSpPr>
        <p:grpSpPr>
          <a:xfrm>
            <a:off x="3759921" y="4163837"/>
            <a:ext cx="4113358" cy="1516085"/>
            <a:chOff x="1378854" y="1712890"/>
            <a:chExt cx="4113358" cy="151608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F7929EE-F623-4D68-B999-8A57445141F6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0AFE90E-C1D4-4256-B934-A55DF55FB621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764663EA-60CB-4EE2-9E85-F2D341F86A30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>
              <a:gsLst>
                <a:gs pos="0">
                  <a:srgbClr val="94C8D8"/>
                </a:gs>
                <a:gs pos="83000">
                  <a:srgbClr val="7AB5DB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BE2B354-A6D0-437A-84FD-ED864F66F4CD}"/>
              </a:ext>
            </a:extLst>
          </p:cNvPr>
          <p:cNvGrpSpPr/>
          <p:nvPr/>
        </p:nvGrpSpPr>
        <p:grpSpPr>
          <a:xfrm>
            <a:off x="2772391" y="3346723"/>
            <a:ext cx="4113358" cy="1516085"/>
            <a:chOff x="1378854" y="1712890"/>
            <a:chExt cx="4113358" cy="151608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AF46755-C5FA-478A-B98C-DCDB19ABA69B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8C3B6C6-1BBE-4C10-B4FE-BC33717D09CE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F740B4-1491-4ACE-92C1-9717DE5BE640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>
              <a:gsLst>
                <a:gs pos="0">
                  <a:srgbClr val="9CD4AD"/>
                </a:gs>
                <a:gs pos="83000">
                  <a:srgbClr val="82C798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E4A1C59-02AE-4A76-BE2D-33698BA9DD33}"/>
              </a:ext>
            </a:extLst>
          </p:cNvPr>
          <p:cNvGrpSpPr/>
          <p:nvPr/>
        </p:nvGrpSpPr>
        <p:grpSpPr>
          <a:xfrm>
            <a:off x="2042875" y="2507831"/>
            <a:ext cx="4113358" cy="1516085"/>
            <a:chOff x="1378854" y="1712890"/>
            <a:chExt cx="4113358" cy="1516085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96BB0EC-259F-49D9-8C8B-6ADF711BBDDC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0E383D8-5E40-47CF-AD67-475E16BFEDA1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BD7D6FF-B2AE-42C5-8B17-5AA99BB95AF2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>
              <a:gsLst>
                <a:gs pos="0">
                  <a:srgbClr val="F2EA84"/>
                </a:gs>
                <a:gs pos="83000">
                  <a:srgbClr val="FFC748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A860D49-B31F-4D2D-8179-EF7705E09CC6}"/>
              </a:ext>
            </a:extLst>
          </p:cNvPr>
          <p:cNvGrpSpPr/>
          <p:nvPr/>
        </p:nvGrpSpPr>
        <p:grpSpPr>
          <a:xfrm>
            <a:off x="1378854" y="1712890"/>
            <a:ext cx="4113358" cy="1516085"/>
            <a:chOff x="1378854" y="1712890"/>
            <a:chExt cx="4113358" cy="1516085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BD01F09-8E33-4950-A9C1-AE03EDE890CB}"/>
                </a:ext>
              </a:extLst>
            </p:cNvPr>
            <p:cNvSpPr/>
            <p:nvPr/>
          </p:nvSpPr>
          <p:spPr>
            <a:xfrm>
              <a:off x="1378854" y="1928282"/>
              <a:ext cx="4113358" cy="130069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83000">
                  <a:schemeClr val="tx1">
                    <a:lumMod val="75000"/>
                    <a:lumOff val="2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softEdge rad="317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EB018CF-3BA4-4270-A259-13391C75866E}"/>
                </a:ext>
              </a:extLst>
            </p:cNvPr>
            <p:cNvSpPr/>
            <p:nvPr/>
          </p:nvSpPr>
          <p:spPr>
            <a:xfrm>
              <a:off x="1654620" y="2002663"/>
              <a:ext cx="3368138" cy="869324"/>
            </a:xfrm>
            <a:custGeom>
              <a:avLst/>
              <a:gdLst>
                <a:gd name="connsiteX0" fmla="*/ 1 w 3368138"/>
                <a:gd name="connsiteY0" fmla="*/ 0 h 869324"/>
                <a:gd name="connsiteX1" fmla="*/ 3368138 w 3368138"/>
                <a:gd name="connsiteY1" fmla="*/ 0 h 869324"/>
                <a:gd name="connsiteX2" fmla="*/ 3368138 w 3368138"/>
                <a:gd name="connsiteY2" fmla="*/ 579549 h 869324"/>
                <a:gd name="connsiteX3" fmla="*/ 1684069 w 3368138"/>
                <a:gd name="connsiteY3" fmla="*/ 869324 h 869324"/>
                <a:gd name="connsiteX4" fmla="*/ 0 w 3368138"/>
                <a:gd name="connsiteY4" fmla="*/ 579549 h 869324"/>
                <a:gd name="connsiteX5" fmla="*/ 1 w 3368138"/>
                <a:gd name="connsiteY5" fmla="*/ 579547 h 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68138" h="869324">
                  <a:moveTo>
                    <a:pt x="1" y="0"/>
                  </a:moveTo>
                  <a:lnTo>
                    <a:pt x="3368138" y="0"/>
                  </a:lnTo>
                  <a:lnTo>
                    <a:pt x="3368138" y="579549"/>
                  </a:lnTo>
                  <a:cubicBezTo>
                    <a:pt x="3368138" y="739587"/>
                    <a:pt x="2614155" y="869324"/>
                    <a:pt x="1684069" y="869324"/>
                  </a:cubicBezTo>
                  <a:cubicBezTo>
                    <a:pt x="753983" y="869324"/>
                    <a:pt x="0" y="739587"/>
                    <a:pt x="0" y="579549"/>
                  </a:cubicBezTo>
                  <a:lnTo>
                    <a:pt x="1" y="57954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97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3245D02-66B5-459D-8C6E-7384E4B8FEB1}"/>
                </a:ext>
              </a:extLst>
            </p:cNvPr>
            <p:cNvSpPr/>
            <p:nvPr/>
          </p:nvSpPr>
          <p:spPr>
            <a:xfrm>
              <a:off x="1654623" y="1712890"/>
              <a:ext cx="3368137" cy="579549"/>
            </a:xfrm>
            <a:prstGeom prst="ellipse">
              <a:avLst/>
            </a:prstGeom>
            <a:gradFill>
              <a:gsLst>
                <a:gs pos="0">
                  <a:srgbClr val="FDA28F"/>
                </a:gs>
                <a:gs pos="83000">
                  <a:srgbClr val="FF4F65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EE8E013F-B38B-41E6-A455-F56A03D22148}"/>
              </a:ext>
            </a:extLst>
          </p:cNvPr>
          <p:cNvSpPr/>
          <p:nvPr/>
        </p:nvSpPr>
        <p:spPr>
          <a:xfrm>
            <a:off x="2407193" y="1801777"/>
            <a:ext cx="1862991" cy="401771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softEdge rad="1778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Flag7">
            <a:extLst>
              <a:ext uri="{FF2B5EF4-FFF2-40B4-BE49-F238E27FC236}">
                <a16:creationId xmlns:a16="http://schemas.microsoft.com/office/drawing/2014/main" id="{EAF2A91F-CD69-4610-8F46-1F3ADBB7932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651108" y="486592"/>
            <a:ext cx="965397" cy="1591027"/>
            <a:chOff x="4898" y="2034"/>
            <a:chExt cx="1003" cy="1653"/>
          </a:xfrm>
          <a:solidFill>
            <a:schemeClr val="tx1">
              <a:lumMod val="65000"/>
              <a:lumOff val="35000"/>
            </a:schemeClr>
          </a:solidFill>
          <a:effectLst/>
        </p:grpSpPr>
        <p:sp>
          <p:nvSpPr>
            <p:cNvPr id="23" name="Freeform 411">
              <a:extLst>
                <a:ext uri="{FF2B5EF4-FFF2-40B4-BE49-F238E27FC236}">
                  <a16:creationId xmlns:a16="http://schemas.microsoft.com/office/drawing/2014/main" id="{D73BB1E8-FE31-409B-BF8B-18AFD57940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8" y="2034"/>
              <a:ext cx="656" cy="767"/>
            </a:xfrm>
            <a:custGeom>
              <a:avLst/>
              <a:gdLst>
                <a:gd name="T0" fmla="*/ 688 w 689"/>
                <a:gd name="T1" fmla="*/ 72 h 805"/>
                <a:gd name="T2" fmla="*/ 604 w 689"/>
                <a:gd name="T3" fmla="*/ 374 h 805"/>
                <a:gd name="T4" fmla="*/ 379 w 689"/>
                <a:gd name="T5" fmla="*/ 328 h 805"/>
                <a:gd name="T6" fmla="*/ 378 w 689"/>
                <a:gd name="T7" fmla="*/ 329 h 805"/>
                <a:gd name="T8" fmla="*/ 57 w 689"/>
                <a:gd name="T9" fmla="*/ 284 h 805"/>
                <a:gd name="T10" fmla="*/ 61 w 689"/>
                <a:gd name="T11" fmla="*/ 0 h 805"/>
                <a:gd name="T12" fmla="*/ 366 w 689"/>
                <a:gd name="T13" fmla="*/ 47 h 805"/>
                <a:gd name="T14" fmla="*/ 688 w 689"/>
                <a:gd name="T15" fmla="*/ 72 h 805"/>
                <a:gd name="T16" fmla="*/ 689 w 689"/>
                <a:gd name="T17" fmla="*/ 77 h 805"/>
                <a:gd name="T18" fmla="*/ 507 w 689"/>
                <a:gd name="T19" fmla="*/ 805 h 805"/>
                <a:gd name="T20" fmla="*/ 482 w 689"/>
                <a:gd name="T21" fmla="*/ 798 h 805"/>
                <a:gd name="T22" fmla="*/ 689 w 689"/>
                <a:gd name="T23" fmla="*/ 77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9" h="805">
                  <a:moveTo>
                    <a:pt x="688" y="72"/>
                  </a:moveTo>
                  <a:lnTo>
                    <a:pt x="604" y="374"/>
                  </a:lnTo>
                  <a:cubicBezTo>
                    <a:pt x="490" y="383"/>
                    <a:pt x="439" y="368"/>
                    <a:pt x="379" y="328"/>
                  </a:cubicBezTo>
                  <a:cubicBezTo>
                    <a:pt x="378" y="329"/>
                    <a:pt x="378" y="329"/>
                    <a:pt x="378" y="329"/>
                  </a:cubicBezTo>
                  <a:cubicBezTo>
                    <a:pt x="226" y="341"/>
                    <a:pt x="132" y="310"/>
                    <a:pt x="57" y="284"/>
                  </a:cubicBezTo>
                  <a:cubicBezTo>
                    <a:pt x="0" y="84"/>
                    <a:pt x="156" y="100"/>
                    <a:pt x="61" y="0"/>
                  </a:cubicBezTo>
                  <a:lnTo>
                    <a:pt x="366" y="47"/>
                  </a:lnTo>
                  <a:cubicBezTo>
                    <a:pt x="400" y="23"/>
                    <a:pt x="609" y="48"/>
                    <a:pt x="688" y="72"/>
                  </a:cubicBezTo>
                  <a:close/>
                  <a:moveTo>
                    <a:pt x="689" y="77"/>
                  </a:moveTo>
                  <a:lnTo>
                    <a:pt x="507" y="805"/>
                  </a:lnTo>
                  <a:lnTo>
                    <a:pt x="482" y="798"/>
                  </a:lnTo>
                  <a:lnTo>
                    <a:pt x="689" y="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12">
              <a:extLst>
                <a:ext uri="{FF2B5EF4-FFF2-40B4-BE49-F238E27FC236}">
                  <a16:creationId xmlns:a16="http://schemas.microsoft.com/office/drawing/2014/main" id="{A1F8F730-1A84-4419-BCBE-ABC774AA0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8" y="2481"/>
              <a:ext cx="543" cy="1206"/>
            </a:xfrm>
            <a:custGeom>
              <a:avLst/>
              <a:gdLst>
                <a:gd name="T0" fmla="*/ 197 w 571"/>
                <a:gd name="T1" fmla="*/ 499 h 1265"/>
                <a:gd name="T2" fmla="*/ 206 w 571"/>
                <a:gd name="T3" fmla="*/ 364 h 1265"/>
                <a:gd name="T4" fmla="*/ 192 w 571"/>
                <a:gd name="T5" fmla="*/ 329 h 1265"/>
                <a:gd name="T6" fmla="*/ 108 w 571"/>
                <a:gd name="T7" fmla="*/ 249 h 1265"/>
                <a:gd name="T8" fmla="*/ 58 w 571"/>
                <a:gd name="T9" fmla="*/ 151 h 1265"/>
                <a:gd name="T10" fmla="*/ 48 w 571"/>
                <a:gd name="T11" fmla="*/ 96 h 1265"/>
                <a:gd name="T12" fmla="*/ 67 w 571"/>
                <a:gd name="T13" fmla="*/ 82 h 1265"/>
                <a:gd name="T14" fmla="*/ 94 w 571"/>
                <a:gd name="T15" fmla="*/ 123 h 1265"/>
                <a:gd name="T16" fmla="*/ 147 w 571"/>
                <a:gd name="T17" fmla="*/ 217 h 1265"/>
                <a:gd name="T18" fmla="*/ 181 w 571"/>
                <a:gd name="T19" fmla="*/ 260 h 1265"/>
                <a:gd name="T20" fmla="*/ 227 w 571"/>
                <a:gd name="T21" fmla="*/ 249 h 1265"/>
                <a:gd name="T22" fmla="*/ 260 w 571"/>
                <a:gd name="T23" fmla="*/ 197 h 1265"/>
                <a:gd name="T24" fmla="*/ 253 w 571"/>
                <a:gd name="T25" fmla="*/ 146 h 1265"/>
                <a:gd name="T26" fmla="*/ 353 w 571"/>
                <a:gd name="T27" fmla="*/ 89 h 1265"/>
                <a:gd name="T28" fmla="*/ 387 w 571"/>
                <a:gd name="T29" fmla="*/ 172 h 1265"/>
                <a:gd name="T30" fmla="*/ 412 w 571"/>
                <a:gd name="T31" fmla="*/ 183 h 1265"/>
                <a:gd name="T32" fmla="*/ 456 w 571"/>
                <a:gd name="T33" fmla="*/ 155 h 1265"/>
                <a:gd name="T34" fmla="*/ 489 w 571"/>
                <a:gd name="T35" fmla="*/ 98 h 1265"/>
                <a:gd name="T36" fmla="*/ 473 w 571"/>
                <a:gd name="T37" fmla="*/ 74 h 1265"/>
                <a:gd name="T38" fmla="*/ 477 w 571"/>
                <a:gd name="T39" fmla="*/ 54 h 1265"/>
                <a:gd name="T40" fmla="*/ 499 w 571"/>
                <a:gd name="T41" fmla="*/ 32 h 1265"/>
                <a:gd name="T42" fmla="*/ 508 w 571"/>
                <a:gd name="T43" fmla="*/ 3 h 1265"/>
                <a:gd name="T44" fmla="*/ 512 w 571"/>
                <a:gd name="T45" fmla="*/ 21 h 1265"/>
                <a:gd name="T46" fmla="*/ 511 w 571"/>
                <a:gd name="T47" fmla="*/ 46 h 1265"/>
                <a:gd name="T48" fmla="*/ 536 w 571"/>
                <a:gd name="T49" fmla="*/ 32 h 1265"/>
                <a:gd name="T50" fmla="*/ 548 w 571"/>
                <a:gd name="T51" fmla="*/ 32 h 1265"/>
                <a:gd name="T52" fmla="*/ 550 w 571"/>
                <a:gd name="T53" fmla="*/ 47 h 1265"/>
                <a:gd name="T54" fmla="*/ 558 w 571"/>
                <a:gd name="T55" fmla="*/ 56 h 1265"/>
                <a:gd name="T56" fmla="*/ 562 w 571"/>
                <a:gd name="T57" fmla="*/ 66 h 1265"/>
                <a:gd name="T58" fmla="*/ 570 w 571"/>
                <a:gd name="T59" fmla="*/ 77 h 1265"/>
                <a:gd name="T60" fmla="*/ 564 w 571"/>
                <a:gd name="T61" fmla="*/ 81 h 1265"/>
                <a:gd name="T62" fmla="*/ 531 w 571"/>
                <a:gd name="T63" fmla="*/ 131 h 1265"/>
                <a:gd name="T64" fmla="*/ 491 w 571"/>
                <a:gd name="T65" fmla="*/ 229 h 1265"/>
                <a:gd name="T66" fmla="*/ 400 w 571"/>
                <a:gd name="T67" fmla="*/ 453 h 1265"/>
                <a:gd name="T68" fmla="*/ 412 w 571"/>
                <a:gd name="T69" fmla="*/ 530 h 1265"/>
                <a:gd name="T70" fmla="*/ 404 w 571"/>
                <a:gd name="T71" fmla="*/ 723 h 1265"/>
                <a:gd name="T72" fmla="*/ 389 w 571"/>
                <a:gd name="T73" fmla="*/ 926 h 1265"/>
                <a:gd name="T74" fmla="*/ 392 w 571"/>
                <a:gd name="T75" fmla="*/ 1106 h 1265"/>
                <a:gd name="T76" fmla="*/ 368 w 571"/>
                <a:gd name="T77" fmla="*/ 1245 h 1265"/>
                <a:gd name="T78" fmla="*/ 306 w 571"/>
                <a:gd name="T79" fmla="*/ 1263 h 1265"/>
                <a:gd name="T80" fmla="*/ 267 w 571"/>
                <a:gd name="T81" fmla="*/ 1243 h 1265"/>
                <a:gd name="T82" fmla="*/ 282 w 571"/>
                <a:gd name="T83" fmla="*/ 1069 h 1265"/>
                <a:gd name="T84" fmla="*/ 281 w 571"/>
                <a:gd name="T85" fmla="*/ 910 h 1265"/>
                <a:gd name="T86" fmla="*/ 269 w 571"/>
                <a:gd name="T87" fmla="*/ 800 h 1265"/>
                <a:gd name="T88" fmla="*/ 268 w 571"/>
                <a:gd name="T89" fmla="*/ 729 h 1265"/>
                <a:gd name="T90" fmla="*/ 229 w 571"/>
                <a:gd name="T91" fmla="*/ 788 h 1265"/>
                <a:gd name="T92" fmla="*/ 191 w 571"/>
                <a:gd name="T93" fmla="*/ 847 h 1265"/>
                <a:gd name="T94" fmla="*/ 202 w 571"/>
                <a:gd name="T95" fmla="*/ 888 h 1265"/>
                <a:gd name="T96" fmla="*/ 228 w 571"/>
                <a:gd name="T97" fmla="*/ 1094 h 1265"/>
                <a:gd name="T98" fmla="*/ 68 w 571"/>
                <a:gd name="T99" fmla="*/ 1167 h 1265"/>
                <a:gd name="T100" fmla="*/ 63 w 571"/>
                <a:gd name="T101" fmla="*/ 1123 h 1265"/>
                <a:gd name="T102" fmla="*/ 108 w 571"/>
                <a:gd name="T103" fmla="*/ 1074 h 1265"/>
                <a:gd name="T104" fmla="*/ 87 w 571"/>
                <a:gd name="T105" fmla="*/ 877 h 1265"/>
                <a:gd name="T106" fmla="*/ 149 w 571"/>
                <a:gd name="T107" fmla="*/ 657 h 1265"/>
                <a:gd name="T108" fmla="*/ 202 w 571"/>
                <a:gd name="T109" fmla="*/ 536 h 1265"/>
                <a:gd name="T110" fmla="*/ 197 w 571"/>
                <a:gd name="T111" fmla="*/ 499 h 1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1" h="1265">
                  <a:moveTo>
                    <a:pt x="197" y="499"/>
                  </a:moveTo>
                  <a:cubicBezTo>
                    <a:pt x="204" y="494"/>
                    <a:pt x="210" y="404"/>
                    <a:pt x="206" y="364"/>
                  </a:cubicBezTo>
                  <a:cubicBezTo>
                    <a:pt x="204" y="345"/>
                    <a:pt x="198" y="330"/>
                    <a:pt x="192" y="329"/>
                  </a:cubicBezTo>
                  <a:cubicBezTo>
                    <a:pt x="162" y="327"/>
                    <a:pt x="127" y="293"/>
                    <a:pt x="108" y="249"/>
                  </a:cubicBezTo>
                  <a:cubicBezTo>
                    <a:pt x="98" y="223"/>
                    <a:pt x="75" y="179"/>
                    <a:pt x="58" y="151"/>
                  </a:cubicBezTo>
                  <a:cubicBezTo>
                    <a:pt x="27" y="100"/>
                    <a:pt x="27" y="100"/>
                    <a:pt x="48" y="96"/>
                  </a:cubicBezTo>
                  <a:cubicBezTo>
                    <a:pt x="59" y="94"/>
                    <a:pt x="68" y="88"/>
                    <a:pt x="67" y="82"/>
                  </a:cubicBezTo>
                  <a:cubicBezTo>
                    <a:pt x="64" y="57"/>
                    <a:pt x="76" y="76"/>
                    <a:pt x="94" y="123"/>
                  </a:cubicBezTo>
                  <a:cubicBezTo>
                    <a:pt x="105" y="151"/>
                    <a:pt x="129" y="194"/>
                    <a:pt x="147" y="217"/>
                  </a:cubicBezTo>
                  <a:lnTo>
                    <a:pt x="181" y="260"/>
                  </a:lnTo>
                  <a:lnTo>
                    <a:pt x="227" y="249"/>
                  </a:lnTo>
                  <a:cubicBezTo>
                    <a:pt x="273" y="237"/>
                    <a:pt x="279" y="229"/>
                    <a:pt x="260" y="197"/>
                  </a:cubicBezTo>
                  <a:cubicBezTo>
                    <a:pt x="257" y="192"/>
                    <a:pt x="253" y="169"/>
                    <a:pt x="253" y="146"/>
                  </a:cubicBezTo>
                  <a:cubicBezTo>
                    <a:pt x="251" y="75"/>
                    <a:pt x="285" y="55"/>
                    <a:pt x="353" y="89"/>
                  </a:cubicBezTo>
                  <a:cubicBezTo>
                    <a:pt x="390" y="108"/>
                    <a:pt x="404" y="142"/>
                    <a:pt x="387" y="172"/>
                  </a:cubicBezTo>
                  <a:cubicBezTo>
                    <a:pt x="366" y="210"/>
                    <a:pt x="373" y="213"/>
                    <a:pt x="412" y="183"/>
                  </a:cubicBezTo>
                  <a:cubicBezTo>
                    <a:pt x="432" y="167"/>
                    <a:pt x="452" y="155"/>
                    <a:pt x="456" y="155"/>
                  </a:cubicBezTo>
                  <a:cubicBezTo>
                    <a:pt x="464" y="155"/>
                    <a:pt x="488" y="114"/>
                    <a:pt x="489" y="98"/>
                  </a:cubicBezTo>
                  <a:cubicBezTo>
                    <a:pt x="489" y="92"/>
                    <a:pt x="482" y="81"/>
                    <a:pt x="473" y="74"/>
                  </a:cubicBezTo>
                  <a:cubicBezTo>
                    <a:pt x="451" y="58"/>
                    <a:pt x="452" y="51"/>
                    <a:pt x="477" y="54"/>
                  </a:cubicBezTo>
                  <a:cubicBezTo>
                    <a:pt x="492" y="56"/>
                    <a:pt x="497" y="51"/>
                    <a:pt x="499" y="32"/>
                  </a:cubicBezTo>
                  <a:cubicBezTo>
                    <a:pt x="500" y="19"/>
                    <a:pt x="504" y="6"/>
                    <a:pt x="508" y="3"/>
                  </a:cubicBezTo>
                  <a:cubicBezTo>
                    <a:pt x="511" y="0"/>
                    <a:pt x="513" y="8"/>
                    <a:pt x="512" y="21"/>
                  </a:cubicBezTo>
                  <a:lnTo>
                    <a:pt x="511" y="46"/>
                  </a:lnTo>
                  <a:lnTo>
                    <a:pt x="536" y="32"/>
                  </a:lnTo>
                  <a:cubicBezTo>
                    <a:pt x="558" y="20"/>
                    <a:pt x="560" y="20"/>
                    <a:pt x="548" y="32"/>
                  </a:cubicBezTo>
                  <a:cubicBezTo>
                    <a:pt x="537" y="44"/>
                    <a:pt x="537" y="46"/>
                    <a:pt x="550" y="47"/>
                  </a:cubicBezTo>
                  <a:cubicBezTo>
                    <a:pt x="558" y="48"/>
                    <a:pt x="562" y="52"/>
                    <a:pt x="558" y="56"/>
                  </a:cubicBezTo>
                  <a:cubicBezTo>
                    <a:pt x="555" y="61"/>
                    <a:pt x="557" y="65"/>
                    <a:pt x="562" y="66"/>
                  </a:cubicBezTo>
                  <a:cubicBezTo>
                    <a:pt x="567" y="66"/>
                    <a:pt x="571" y="71"/>
                    <a:pt x="570" y="77"/>
                  </a:cubicBezTo>
                  <a:cubicBezTo>
                    <a:pt x="570" y="82"/>
                    <a:pt x="567" y="84"/>
                    <a:pt x="564" y="81"/>
                  </a:cubicBezTo>
                  <a:cubicBezTo>
                    <a:pt x="555" y="70"/>
                    <a:pt x="533" y="102"/>
                    <a:pt x="531" y="131"/>
                  </a:cubicBezTo>
                  <a:cubicBezTo>
                    <a:pt x="528" y="164"/>
                    <a:pt x="509" y="211"/>
                    <a:pt x="491" y="229"/>
                  </a:cubicBezTo>
                  <a:cubicBezTo>
                    <a:pt x="473" y="247"/>
                    <a:pt x="402" y="421"/>
                    <a:pt x="400" y="453"/>
                  </a:cubicBezTo>
                  <a:cubicBezTo>
                    <a:pt x="399" y="467"/>
                    <a:pt x="404" y="502"/>
                    <a:pt x="412" y="530"/>
                  </a:cubicBezTo>
                  <a:cubicBezTo>
                    <a:pt x="425" y="579"/>
                    <a:pt x="425" y="589"/>
                    <a:pt x="404" y="723"/>
                  </a:cubicBezTo>
                  <a:cubicBezTo>
                    <a:pt x="387" y="838"/>
                    <a:pt x="384" y="877"/>
                    <a:pt x="389" y="926"/>
                  </a:cubicBezTo>
                  <a:cubicBezTo>
                    <a:pt x="393" y="960"/>
                    <a:pt x="394" y="1041"/>
                    <a:pt x="392" y="1106"/>
                  </a:cubicBezTo>
                  <a:cubicBezTo>
                    <a:pt x="387" y="1215"/>
                    <a:pt x="385" y="1227"/>
                    <a:pt x="368" y="1245"/>
                  </a:cubicBezTo>
                  <a:cubicBezTo>
                    <a:pt x="353" y="1261"/>
                    <a:pt x="340" y="1265"/>
                    <a:pt x="306" y="1263"/>
                  </a:cubicBezTo>
                  <a:cubicBezTo>
                    <a:pt x="267" y="1260"/>
                    <a:pt x="263" y="1258"/>
                    <a:pt x="267" y="1243"/>
                  </a:cubicBezTo>
                  <a:cubicBezTo>
                    <a:pt x="272" y="1223"/>
                    <a:pt x="271" y="1228"/>
                    <a:pt x="282" y="1069"/>
                  </a:cubicBezTo>
                  <a:cubicBezTo>
                    <a:pt x="288" y="989"/>
                    <a:pt x="287" y="935"/>
                    <a:pt x="281" y="910"/>
                  </a:cubicBezTo>
                  <a:cubicBezTo>
                    <a:pt x="275" y="888"/>
                    <a:pt x="270" y="839"/>
                    <a:pt x="269" y="800"/>
                  </a:cubicBezTo>
                  <a:lnTo>
                    <a:pt x="268" y="729"/>
                  </a:lnTo>
                  <a:lnTo>
                    <a:pt x="229" y="788"/>
                  </a:lnTo>
                  <a:lnTo>
                    <a:pt x="191" y="847"/>
                  </a:lnTo>
                  <a:lnTo>
                    <a:pt x="202" y="888"/>
                  </a:lnTo>
                  <a:cubicBezTo>
                    <a:pt x="213" y="934"/>
                    <a:pt x="228" y="1048"/>
                    <a:pt x="228" y="1094"/>
                  </a:cubicBezTo>
                  <a:cubicBezTo>
                    <a:pt x="228" y="1158"/>
                    <a:pt x="214" y="1164"/>
                    <a:pt x="68" y="1167"/>
                  </a:cubicBezTo>
                  <a:cubicBezTo>
                    <a:pt x="3" y="1169"/>
                    <a:pt x="0" y="1150"/>
                    <a:pt x="63" y="1123"/>
                  </a:cubicBezTo>
                  <a:cubicBezTo>
                    <a:pt x="102" y="1106"/>
                    <a:pt x="107" y="1101"/>
                    <a:pt x="108" y="1074"/>
                  </a:cubicBezTo>
                  <a:cubicBezTo>
                    <a:pt x="111" y="1018"/>
                    <a:pt x="99" y="906"/>
                    <a:pt x="87" y="877"/>
                  </a:cubicBezTo>
                  <a:cubicBezTo>
                    <a:pt x="67" y="830"/>
                    <a:pt x="84" y="771"/>
                    <a:pt x="149" y="657"/>
                  </a:cubicBezTo>
                  <a:cubicBezTo>
                    <a:pt x="187" y="588"/>
                    <a:pt x="204" y="550"/>
                    <a:pt x="202" y="536"/>
                  </a:cubicBezTo>
                  <a:cubicBezTo>
                    <a:pt x="196" y="501"/>
                    <a:pt x="199" y="528"/>
                    <a:pt x="197" y="4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25" name="Graphic 24" descr="Crawl">
            <a:extLst>
              <a:ext uri="{FF2B5EF4-FFF2-40B4-BE49-F238E27FC236}">
                <a16:creationId xmlns:a16="http://schemas.microsoft.com/office/drawing/2014/main" id="{42A91631-D1B8-4E7B-8288-9BD9DAE3B0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5867392" y="3853905"/>
            <a:ext cx="418872" cy="418872"/>
          </a:xfrm>
          <a:prstGeom prst="rect">
            <a:avLst/>
          </a:prstGeom>
        </p:spPr>
      </p:pic>
      <p:pic>
        <p:nvPicPr>
          <p:cNvPr id="26" name="Graphic 25" descr="Walk">
            <a:extLst>
              <a:ext uri="{FF2B5EF4-FFF2-40B4-BE49-F238E27FC236}">
                <a16:creationId xmlns:a16="http://schemas.microsoft.com/office/drawing/2014/main" id="{BAB1F5F9-3FE8-4CEF-9915-0F48030228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5098630" y="3024947"/>
            <a:ext cx="418872" cy="418872"/>
          </a:xfrm>
          <a:prstGeom prst="rect">
            <a:avLst/>
          </a:prstGeom>
        </p:spPr>
      </p:pic>
      <p:pic>
        <p:nvPicPr>
          <p:cNvPr id="27" name="Graphic 26" descr="Run">
            <a:extLst>
              <a:ext uri="{FF2B5EF4-FFF2-40B4-BE49-F238E27FC236}">
                <a16:creationId xmlns:a16="http://schemas.microsoft.com/office/drawing/2014/main" id="{42E00443-F0C0-4D43-AF86-9B3838E683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491734" y="2267161"/>
            <a:ext cx="418872" cy="418872"/>
          </a:xfrm>
          <a:prstGeom prst="rect">
            <a:avLst/>
          </a:prstGeom>
        </p:spPr>
      </p:pic>
      <p:pic>
        <p:nvPicPr>
          <p:cNvPr id="28" name="Graphic 27" descr="Confused person">
            <a:extLst>
              <a:ext uri="{FF2B5EF4-FFF2-40B4-BE49-F238E27FC236}">
                <a16:creationId xmlns:a16="http://schemas.microsoft.com/office/drawing/2014/main" id="{077D4AB1-8DB8-46E8-ACD0-BB01C327CE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6875815" y="4691562"/>
            <a:ext cx="418872" cy="418872"/>
          </a:xfrm>
          <a:prstGeom prst="rect">
            <a:avLst/>
          </a:prstGeom>
        </p:spPr>
      </p:pic>
      <p:pic>
        <p:nvPicPr>
          <p:cNvPr id="29" name="Graphic 28" descr="Man">
            <a:extLst>
              <a:ext uri="{FF2B5EF4-FFF2-40B4-BE49-F238E27FC236}">
                <a16:creationId xmlns:a16="http://schemas.microsoft.com/office/drawing/2014/main" id="{8991AAB1-7B3F-405D-9559-9E5A8DA064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7872558" y="5476442"/>
            <a:ext cx="418872" cy="4188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BD52997-1B22-4724-BD66-F1D4E4252643}"/>
              </a:ext>
            </a:extLst>
          </p:cNvPr>
          <p:cNvSpPr txBox="1"/>
          <p:nvPr/>
        </p:nvSpPr>
        <p:spPr>
          <a:xfrm>
            <a:off x="2318641" y="2372493"/>
            <a:ext cx="1719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5E101A-BB87-4252-A31C-6C3A73274039}"/>
              </a:ext>
            </a:extLst>
          </p:cNvPr>
          <p:cNvSpPr txBox="1"/>
          <p:nvPr/>
        </p:nvSpPr>
        <p:spPr>
          <a:xfrm>
            <a:off x="3142807" y="3172771"/>
            <a:ext cx="1719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39FB75D-F25C-4022-85AD-22F7A7C26589}"/>
              </a:ext>
            </a:extLst>
          </p:cNvPr>
          <p:cNvSpPr txBox="1"/>
          <p:nvPr/>
        </p:nvSpPr>
        <p:spPr>
          <a:xfrm>
            <a:off x="3869432" y="4011321"/>
            <a:ext cx="1719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2768702-B16E-4122-A0C1-CA19468292D0}"/>
              </a:ext>
            </a:extLst>
          </p:cNvPr>
          <p:cNvSpPr txBox="1"/>
          <p:nvPr/>
        </p:nvSpPr>
        <p:spPr>
          <a:xfrm>
            <a:off x="4824117" y="4813064"/>
            <a:ext cx="1719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2FAB545-90DE-470B-BE1B-0463DAA9A423}"/>
              </a:ext>
            </a:extLst>
          </p:cNvPr>
          <p:cNvSpPr txBox="1"/>
          <p:nvPr/>
        </p:nvSpPr>
        <p:spPr>
          <a:xfrm>
            <a:off x="5778802" y="5614807"/>
            <a:ext cx="1719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915C311-120F-45AE-8FFF-BE15DBA48121}"/>
              </a:ext>
            </a:extLst>
          </p:cNvPr>
          <p:cNvSpPr txBox="1"/>
          <p:nvPr/>
        </p:nvSpPr>
        <p:spPr>
          <a:xfrm>
            <a:off x="5268691" y="1731697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FF4F65"/>
                </a:solidFill>
                <a:latin typeface="Bebas Neue Bold" panose="020B0606020202050201" pitchFamily="34" charset="0"/>
              </a:rPr>
              <a:t>HEADING 01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876D8D4-5654-47C0-8E47-72D2E797950F}"/>
              </a:ext>
            </a:extLst>
          </p:cNvPr>
          <p:cNvSpPr txBox="1"/>
          <p:nvPr/>
        </p:nvSpPr>
        <p:spPr>
          <a:xfrm>
            <a:off x="6164814" y="2589209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FFC748"/>
                </a:solidFill>
                <a:latin typeface="Bebas Neue Bold" panose="020B0606020202050201" pitchFamily="34" charset="0"/>
              </a:rPr>
              <a:t>HEADING 02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4A38B9C-B3F7-4C6C-920D-760F208D84B5}"/>
              </a:ext>
            </a:extLst>
          </p:cNvPr>
          <p:cNvSpPr txBox="1"/>
          <p:nvPr/>
        </p:nvSpPr>
        <p:spPr>
          <a:xfrm>
            <a:off x="6833009" y="3446721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82C798"/>
                </a:solidFill>
                <a:latin typeface="Bebas Neue Bold" panose="020B0606020202050201" pitchFamily="34" charset="0"/>
              </a:rPr>
              <a:t>HEADING 03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9BBA3A9-0627-4353-B946-697D29F9B28A}"/>
              </a:ext>
            </a:extLst>
          </p:cNvPr>
          <p:cNvSpPr txBox="1"/>
          <p:nvPr/>
        </p:nvSpPr>
        <p:spPr>
          <a:xfrm>
            <a:off x="7773692" y="4304233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7AB5DB"/>
                </a:solidFill>
                <a:latin typeface="Bebas Neue Bold" panose="020B0606020202050201" pitchFamily="34" charset="0"/>
              </a:rPr>
              <a:t>HEADING 04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C048D8A-67F8-41EA-A935-FAAF58585119}"/>
              </a:ext>
            </a:extLst>
          </p:cNvPr>
          <p:cNvSpPr txBox="1"/>
          <p:nvPr/>
        </p:nvSpPr>
        <p:spPr>
          <a:xfrm>
            <a:off x="8644089" y="5161746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9690CB"/>
                </a:solidFill>
                <a:latin typeface="Bebas Neue Bold" panose="020B0606020202050201" pitchFamily="34" charset="0"/>
              </a:rPr>
              <a:t>HEADING 05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BF02982-D25C-47F4-A621-FF1AC55FBF61}"/>
              </a:ext>
            </a:extLst>
          </p:cNvPr>
          <p:cNvSpPr txBox="1"/>
          <p:nvPr/>
        </p:nvSpPr>
        <p:spPr>
          <a:xfrm>
            <a:off x="6164814" y="178481"/>
            <a:ext cx="53776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pc="300" dirty="0">
                <a:solidFill>
                  <a:schemeClr val="tx1">
                    <a:lumMod val="85000"/>
                    <a:lumOff val="15000"/>
                  </a:schemeClr>
                </a:solidFill>
                <a:latin typeface="Arca Majora 3 Bold" panose="00000800000000000000" pitchFamily="50" charset="0"/>
                <a:ea typeface="Adobe Gothic Std B" panose="020B0800000000000000" pitchFamily="34" charset="-128"/>
              </a:rPr>
              <a:t>5 Step 3D CYLINDER SHAPE infographic</a:t>
            </a:r>
            <a:endParaRPr lang="en-US" sz="2800" spc="300" dirty="0">
              <a:solidFill>
                <a:schemeClr val="tx1">
                  <a:lumMod val="85000"/>
                  <a:lumOff val="15000"/>
                </a:schemeClr>
              </a:solidFill>
              <a:latin typeface="Arca Majora 3 Bold" panose="00000800000000000000" pitchFamily="50" charset="0"/>
              <a:ea typeface="Adobe Gothic Std B" panose="020B08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6684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000"/>
                            </p:stCondLst>
                            <p:childTnLst>
                              <p:par>
                                <p:cTn id="73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4000"/>
                            </p:stCondLst>
                            <p:childTnLst>
                              <p:par>
                                <p:cTn id="94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426B642-8FDB-432C-8401-27CFB44F5510}"/>
              </a:ext>
            </a:extLst>
          </p:cNvPr>
          <p:cNvSpPr/>
          <p:nvPr/>
        </p:nvSpPr>
        <p:spPr>
          <a:xfrm>
            <a:off x="0" y="0"/>
            <a:ext cx="275771" cy="275771"/>
          </a:xfrm>
          <a:prstGeom prst="rect">
            <a:avLst/>
          </a:prstGeom>
          <a:solidFill>
            <a:srgbClr val="FDA2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E64CCA-D622-476A-B0D6-CC03FBC27DBE}"/>
              </a:ext>
            </a:extLst>
          </p:cNvPr>
          <p:cNvSpPr/>
          <p:nvPr/>
        </p:nvSpPr>
        <p:spPr>
          <a:xfrm>
            <a:off x="-1" y="290285"/>
            <a:ext cx="275771" cy="275771"/>
          </a:xfrm>
          <a:prstGeom prst="rect">
            <a:avLst/>
          </a:prstGeom>
          <a:solidFill>
            <a:srgbClr val="FF4F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8EC284-EA00-4B13-9261-5D93B00B9E1C}"/>
              </a:ext>
            </a:extLst>
          </p:cNvPr>
          <p:cNvSpPr/>
          <p:nvPr/>
        </p:nvSpPr>
        <p:spPr>
          <a:xfrm>
            <a:off x="275771" y="0"/>
            <a:ext cx="275771" cy="275771"/>
          </a:xfrm>
          <a:prstGeom prst="rect">
            <a:avLst/>
          </a:prstGeom>
          <a:solidFill>
            <a:srgbClr val="F2EA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CD16928-B7E7-4F52-8088-D8C7205FB937}"/>
              </a:ext>
            </a:extLst>
          </p:cNvPr>
          <p:cNvSpPr/>
          <p:nvPr/>
        </p:nvSpPr>
        <p:spPr>
          <a:xfrm>
            <a:off x="275770" y="290285"/>
            <a:ext cx="275771" cy="275771"/>
          </a:xfrm>
          <a:prstGeom prst="rect">
            <a:avLst/>
          </a:prstGeom>
          <a:solidFill>
            <a:srgbClr val="FFC7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395952F-2A4D-43EB-AC3F-92CD744FFE47}"/>
              </a:ext>
            </a:extLst>
          </p:cNvPr>
          <p:cNvSpPr/>
          <p:nvPr/>
        </p:nvSpPr>
        <p:spPr>
          <a:xfrm>
            <a:off x="551542" y="0"/>
            <a:ext cx="275771" cy="275771"/>
          </a:xfrm>
          <a:prstGeom prst="rect">
            <a:avLst/>
          </a:prstGeom>
          <a:solidFill>
            <a:srgbClr val="9CD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C4BECE8-7C2F-4BEF-9FCF-4A43292C2403}"/>
              </a:ext>
            </a:extLst>
          </p:cNvPr>
          <p:cNvSpPr/>
          <p:nvPr/>
        </p:nvSpPr>
        <p:spPr>
          <a:xfrm>
            <a:off x="551541" y="290285"/>
            <a:ext cx="275771" cy="275771"/>
          </a:xfrm>
          <a:prstGeom prst="rect">
            <a:avLst/>
          </a:prstGeom>
          <a:solidFill>
            <a:srgbClr val="82C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A9674FB-C6EE-4710-BFA8-046276982F1B}"/>
              </a:ext>
            </a:extLst>
          </p:cNvPr>
          <p:cNvSpPr/>
          <p:nvPr/>
        </p:nvSpPr>
        <p:spPr>
          <a:xfrm>
            <a:off x="827313" y="0"/>
            <a:ext cx="275771" cy="275771"/>
          </a:xfrm>
          <a:prstGeom prst="rect">
            <a:avLst/>
          </a:prstGeom>
          <a:solidFill>
            <a:srgbClr val="94C8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406851E-90B0-450A-B1B7-1B4E57B671E6}"/>
              </a:ext>
            </a:extLst>
          </p:cNvPr>
          <p:cNvSpPr/>
          <p:nvPr/>
        </p:nvSpPr>
        <p:spPr>
          <a:xfrm>
            <a:off x="827312" y="290285"/>
            <a:ext cx="275771" cy="275771"/>
          </a:xfrm>
          <a:prstGeom prst="rect">
            <a:avLst/>
          </a:prstGeom>
          <a:solidFill>
            <a:srgbClr val="7AB5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D534292-4520-4A92-BCCC-9A1BAE37FD47}"/>
              </a:ext>
            </a:extLst>
          </p:cNvPr>
          <p:cNvSpPr/>
          <p:nvPr/>
        </p:nvSpPr>
        <p:spPr>
          <a:xfrm>
            <a:off x="1103084" y="0"/>
            <a:ext cx="275771" cy="275771"/>
          </a:xfrm>
          <a:prstGeom prst="rect">
            <a:avLst/>
          </a:prstGeom>
          <a:solidFill>
            <a:srgbClr val="BFA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957304D-F3B1-4BE5-B671-620072642B89}"/>
              </a:ext>
            </a:extLst>
          </p:cNvPr>
          <p:cNvSpPr/>
          <p:nvPr/>
        </p:nvSpPr>
        <p:spPr>
          <a:xfrm>
            <a:off x="1103083" y="290285"/>
            <a:ext cx="275771" cy="275771"/>
          </a:xfrm>
          <a:prstGeom prst="rect">
            <a:avLst/>
          </a:prstGeom>
          <a:solidFill>
            <a:srgbClr val="9690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C45179-50E6-413C-B130-F05D56F34B9F}"/>
              </a:ext>
            </a:extLst>
          </p:cNvPr>
          <p:cNvSpPr txBox="1"/>
          <p:nvPr/>
        </p:nvSpPr>
        <p:spPr>
          <a:xfrm>
            <a:off x="9341107" y="1348212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FF4F65"/>
                </a:solidFill>
                <a:latin typeface="Bebas Neue Bold" panose="020B0606020202050201" pitchFamily="34" charset="0"/>
              </a:rPr>
              <a:t>HEADING 01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56DD9A7-A1C6-4ACF-8181-5F13FD69A456}"/>
              </a:ext>
            </a:extLst>
          </p:cNvPr>
          <p:cNvSpPr txBox="1"/>
          <p:nvPr/>
        </p:nvSpPr>
        <p:spPr>
          <a:xfrm>
            <a:off x="9341107" y="2226128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FFC748"/>
                </a:solidFill>
                <a:latin typeface="Bebas Neue Bold" panose="020B0606020202050201" pitchFamily="34" charset="0"/>
              </a:rPr>
              <a:t>HEADING 02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DB60098-CA08-4367-8F13-C224A35C8F4F}"/>
              </a:ext>
            </a:extLst>
          </p:cNvPr>
          <p:cNvSpPr txBox="1"/>
          <p:nvPr/>
        </p:nvSpPr>
        <p:spPr>
          <a:xfrm>
            <a:off x="9341107" y="3104044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82C798"/>
                </a:solidFill>
                <a:latin typeface="Bebas Neue Bold" panose="020B0606020202050201" pitchFamily="34" charset="0"/>
              </a:rPr>
              <a:t>HEADING 03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DC85F44-F8E5-4C2D-9B7C-C844DEF3710A}"/>
              </a:ext>
            </a:extLst>
          </p:cNvPr>
          <p:cNvSpPr txBox="1"/>
          <p:nvPr/>
        </p:nvSpPr>
        <p:spPr>
          <a:xfrm>
            <a:off x="9341107" y="3981960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7AB5DB"/>
                </a:solidFill>
                <a:latin typeface="Bebas Neue Bold" panose="020B0606020202050201" pitchFamily="34" charset="0"/>
              </a:rPr>
              <a:t>HEADING 04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738377-7A1E-4E90-8E93-9F5DAF089C2F}"/>
              </a:ext>
            </a:extLst>
          </p:cNvPr>
          <p:cNvSpPr txBox="1"/>
          <p:nvPr/>
        </p:nvSpPr>
        <p:spPr>
          <a:xfrm>
            <a:off x="9341107" y="5023751"/>
            <a:ext cx="195218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600" dirty="0">
                <a:solidFill>
                  <a:srgbClr val="9690CB"/>
                </a:solidFill>
                <a:latin typeface="Bebas Neue Bold" panose="020B0606020202050201" pitchFamily="34" charset="0"/>
              </a:rPr>
              <a:t>HEADING 05</a:t>
            </a:r>
          </a:p>
          <a:p>
            <a:r>
              <a:rPr lang="en-US" sz="1100" dirty="0">
                <a:latin typeface="Economica" panose="02000506040000020004" pitchFamily="2" charset="0"/>
              </a:rPr>
              <a:t>Some text goes here. Some text goes here. Some text goes here. Some text goes here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3C526CA-B751-4414-84A2-163B3AE744D0}"/>
              </a:ext>
            </a:extLst>
          </p:cNvPr>
          <p:cNvSpPr/>
          <p:nvPr/>
        </p:nvSpPr>
        <p:spPr>
          <a:xfrm>
            <a:off x="1515299" y="0"/>
            <a:ext cx="290285" cy="290285"/>
          </a:xfrm>
          <a:prstGeom prst="rect">
            <a:avLst/>
          </a:prstGeom>
          <a:solidFill>
            <a:srgbClr val="BCC4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EE6D657-E29D-4938-BC10-2061A5E0DD8F}"/>
              </a:ext>
            </a:extLst>
          </p:cNvPr>
          <p:cNvSpPr/>
          <p:nvPr/>
        </p:nvSpPr>
        <p:spPr>
          <a:xfrm>
            <a:off x="1509482" y="304800"/>
            <a:ext cx="290285" cy="290285"/>
          </a:xfrm>
          <a:prstGeom prst="rect">
            <a:avLst/>
          </a:prstGeom>
          <a:solidFill>
            <a:srgbClr val="E6E8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52B9423-13DA-4F76-809A-436735C86909}"/>
              </a:ext>
            </a:extLst>
          </p:cNvPr>
          <p:cNvSpPr txBox="1"/>
          <p:nvPr/>
        </p:nvSpPr>
        <p:spPr>
          <a:xfrm>
            <a:off x="3519573" y="1055824"/>
            <a:ext cx="53776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spc="300" dirty="0">
                <a:solidFill>
                  <a:schemeClr val="tx1">
                    <a:lumMod val="85000"/>
                    <a:lumOff val="15000"/>
                  </a:schemeClr>
                </a:solidFill>
                <a:latin typeface="Arca Majora 3 Bold" panose="00000800000000000000" pitchFamily="50" charset="0"/>
                <a:ea typeface="Adobe Gothic Std B" panose="020B0800000000000000" pitchFamily="34" charset="-128"/>
              </a:rPr>
              <a:t>5 Step 3D CYLINDER SHAPE infographic</a:t>
            </a:r>
            <a:endParaRPr lang="en-US" sz="2800" spc="300" dirty="0">
              <a:solidFill>
                <a:schemeClr val="tx1">
                  <a:lumMod val="85000"/>
                  <a:lumOff val="15000"/>
                </a:schemeClr>
              </a:solidFill>
              <a:latin typeface="Arca Majora 3 Bold" panose="00000800000000000000" pitchFamily="50" charset="0"/>
              <a:ea typeface="Adobe Gothic Std B" panose="020B0800000000000000" pitchFamily="34" charset="-128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D3C90F9-05EA-4CBA-85F8-5325E8CA5335}"/>
              </a:ext>
            </a:extLst>
          </p:cNvPr>
          <p:cNvSpPr txBox="1"/>
          <p:nvPr/>
        </p:nvSpPr>
        <p:spPr>
          <a:xfrm>
            <a:off x="1799767" y="5216111"/>
            <a:ext cx="17198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Economica" panose="02000506040000020004" pitchFamily="2" charset="0"/>
              </a:rPr>
              <a:t>Some text goes here. Some text goes here. Some text goes here</a:t>
            </a:r>
          </a:p>
        </p:txBody>
      </p:sp>
      <p:grpSp>
        <p:nvGrpSpPr>
          <p:cNvPr id="36" name="Flag7">
            <a:extLst>
              <a:ext uri="{FF2B5EF4-FFF2-40B4-BE49-F238E27FC236}">
                <a16:creationId xmlns:a16="http://schemas.microsoft.com/office/drawing/2014/main" id="{D0E49178-D36B-497D-A143-080536990CA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641893" y="2616705"/>
            <a:ext cx="688874" cy="1135302"/>
            <a:chOff x="4898" y="2034"/>
            <a:chExt cx="1003" cy="1653"/>
          </a:xfrm>
          <a:solidFill>
            <a:schemeClr val="tx1">
              <a:lumMod val="65000"/>
              <a:lumOff val="35000"/>
            </a:schemeClr>
          </a:solidFill>
          <a:effectLst/>
        </p:grpSpPr>
        <p:sp>
          <p:nvSpPr>
            <p:cNvPr id="37" name="Freeform 411">
              <a:extLst>
                <a:ext uri="{FF2B5EF4-FFF2-40B4-BE49-F238E27FC236}">
                  <a16:creationId xmlns:a16="http://schemas.microsoft.com/office/drawing/2014/main" id="{59E239C4-BD2F-49BD-BCAF-890B6030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8" y="2034"/>
              <a:ext cx="656" cy="767"/>
            </a:xfrm>
            <a:custGeom>
              <a:avLst/>
              <a:gdLst>
                <a:gd name="T0" fmla="*/ 688 w 689"/>
                <a:gd name="T1" fmla="*/ 72 h 805"/>
                <a:gd name="T2" fmla="*/ 604 w 689"/>
                <a:gd name="T3" fmla="*/ 374 h 805"/>
                <a:gd name="T4" fmla="*/ 379 w 689"/>
                <a:gd name="T5" fmla="*/ 328 h 805"/>
                <a:gd name="T6" fmla="*/ 378 w 689"/>
                <a:gd name="T7" fmla="*/ 329 h 805"/>
                <a:gd name="T8" fmla="*/ 57 w 689"/>
                <a:gd name="T9" fmla="*/ 284 h 805"/>
                <a:gd name="T10" fmla="*/ 61 w 689"/>
                <a:gd name="T11" fmla="*/ 0 h 805"/>
                <a:gd name="T12" fmla="*/ 366 w 689"/>
                <a:gd name="T13" fmla="*/ 47 h 805"/>
                <a:gd name="T14" fmla="*/ 688 w 689"/>
                <a:gd name="T15" fmla="*/ 72 h 805"/>
                <a:gd name="T16" fmla="*/ 689 w 689"/>
                <a:gd name="T17" fmla="*/ 77 h 805"/>
                <a:gd name="T18" fmla="*/ 507 w 689"/>
                <a:gd name="T19" fmla="*/ 805 h 805"/>
                <a:gd name="T20" fmla="*/ 482 w 689"/>
                <a:gd name="T21" fmla="*/ 798 h 805"/>
                <a:gd name="T22" fmla="*/ 689 w 689"/>
                <a:gd name="T23" fmla="*/ 77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9" h="805">
                  <a:moveTo>
                    <a:pt x="688" y="72"/>
                  </a:moveTo>
                  <a:lnTo>
                    <a:pt x="604" y="374"/>
                  </a:lnTo>
                  <a:cubicBezTo>
                    <a:pt x="490" y="383"/>
                    <a:pt x="439" y="368"/>
                    <a:pt x="379" y="328"/>
                  </a:cubicBezTo>
                  <a:cubicBezTo>
                    <a:pt x="378" y="329"/>
                    <a:pt x="378" y="329"/>
                    <a:pt x="378" y="329"/>
                  </a:cubicBezTo>
                  <a:cubicBezTo>
                    <a:pt x="226" y="341"/>
                    <a:pt x="132" y="310"/>
                    <a:pt x="57" y="284"/>
                  </a:cubicBezTo>
                  <a:cubicBezTo>
                    <a:pt x="0" y="84"/>
                    <a:pt x="156" y="100"/>
                    <a:pt x="61" y="0"/>
                  </a:cubicBezTo>
                  <a:lnTo>
                    <a:pt x="366" y="47"/>
                  </a:lnTo>
                  <a:cubicBezTo>
                    <a:pt x="400" y="23"/>
                    <a:pt x="609" y="48"/>
                    <a:pt x="688" y="72"/>
                  </a:cubicBezTo>
                  <a:close/>
                  <a:moveTo>
                    <a:pt x="689" y="77"/>
                  </a:moveTo>
                  <a:lnTo>
                    <a:pt x="507" y="805"/>
                  </a:lnTo>
                  <a:lnTo>
                    <a:pt x="482" y="798"/>
                  </a:lnTo>
                  <a:lnTo>
                    <a:pt x="689" y="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412">
              <a:extLst>
                <a:ext uri="{FF2B5EF4-FFF2-40B4-BE49-F238E27FC236}">
                  <a16:creationId xmlns:a16="http://schemas.microsoft.com/office/drawing/2014/main" id="{4F156DCC-EF73-45BA-A727-12C4B2685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8" y="2481"/>
              <a:ext cx="543" cy="1206"/>
            </a:xfrm>
            <a:custGeom>
              <a:avLst/>
              <a:gdLst>
                <a:gd name="T0" fmla="*/ 197 w 571"/>
                <a:gd name="T1" fmla="*/ 499 h 1265"/>
                <a:gd name="T2" fmla="*/ 206 w 571"/>
                <a:gd name="T3" fmla="*/ 364 h 1265"/>
                <a:gd name="T4" fmla="*/ 192 w 571"/>
                <a:gd name="T5" fmla="*/ 329 h 1265"/>
                <a:gd name="T6" fmla="*/ 108 w 571"/>
                <a:gd name="T7" fmla="*/ 249 h 1265"/>
                <a:gd name="T8" fmla="*/ 58 w 571"/>
                <a:gd name="T9" fmla="*/ 151 h 1265"/>
                <a:gd name="T10" fmla="*/ 48 w 571"/>
                <a:gd name="T11" fmla="*/ 96 h 1265"/>
                <a:gd name="T12" fmla="*/ 67 w 571"/>
                <a:gd name="T13" fmla="*/ 82 h 1265"/>
                <a:gd name="T14" fmla="*/ 94 w 571"/>
                <a:gd name="T15" fmla="*/ 123 h 1265"/>
                <a:gd name="T16" fmla="*/ 147 w 571"/>
                <a:gd name="T17" fmla="*/ 217 h 1265"/>
                <a:gd name="T18" fmla="*/ 181 w 571"/>
                <a:gd name="T19" fmla="*/ 260 h 1265"/>
                <a:gd name="T20" fmla="*/ 227 w 571"/>
                <a:gd name="T21" fmla="*/ 249 h 1265"/>
                <a:gd name="T22" fmla="*/ 260 w 571"/>
                <a:gd name="T23" fmla="*/ 197 h 1265"/>
                <a:gd name="T24" fmla="*/ 253 w 571"/>
                <a:gd name="T25" fmla="*/ 146 h 1265"/>
                <a:gd name="T26" fmla="*/ 353 w 571"/>
                <a:gd name="T27" fmla="*/ 89 h 1265"/>
                <a:gd name="T28" fmla="*/ 387 w 571"/>
                <a:gd name="T29" fmla="*/ 172 h 1265"/>
                <a:gd name="T30" fmla="*/ 412 w 571"/>
                <a:gd name="T31" fmla="*/ 183 h 1265"/>
                <a:gd name="T32" fmla="*/ 456 w 571"/>
                <a:gd name="T33" fmla="*/ 155 h 1265"/>
                <a:gd name="T34" fmla="*/ 489 w 571"/>
                <a:gd name="T35" fmla="*/ 98 h 1265"/>
                <a:gd name="T36" fmla="*/ 473 w 571"/>
                <a:gd name="T37" fmla="*/ 74 h 1265"/>
                <a:gd name="T38" fmla="*/ 477 w 571"/>
                <a:gd name="T39" fmla="*/ 54 h 1265"/>
                <a:gd name="T40" fmla="*/ 499 w 571"/>
                <a:gd name="T41" fmla="*/ 32 h 1265"/>
                <a:gd name="T42" fmla="*/ 508 w 571"/>
                <a:gd name="T43" fmla="*/ 3 h 1265"/>
                <a:gd name="T44" fmla="*/ 512 w 571"/>
                <a:gd name="T45" fmla="*/ 21 h 1265"/>
                <a:gd name="T46" fmla="*/ 511 w 571"/>
                <a:gd name="T47" fmla="*/ 46 h 1265"/>
                <a:gd name="T48" fmla="*/ 536 w 571"/>
                <a:gd name="T49" fmla="*/ 32 h 1265"/>
                <a:gd name="T50" fmla="*/ 548 w 571"/>
                <a:gd name="T51" fmla="*/ 32 h 1265"/>
                <a:gd name="T52" fmla="*/ 550 w 571"/>
                <a:gd name="T53" fmla="*/ 47 h 1265"/>
                <a:gd name="T54" fmla="*/ 558 w 571"/>
                <a:gd name="T55" fmla="*/ 56 h 1265"/>
                <a:gd name="T56" fmla="*/ 562 w 571"/>
                <a:gd name="T57" fmla="*/ 66 h 1265"/>
                <a:gd name="T58" fmla="*/ 570 w 571"/>
                <a:gd name="T59" fmla="*/ 77 h 1265"/>
                <a:gd name="T60" fmla="*/ 564 w 571"/>
                <a:gd name="T61" fmla="*/ 81 h 1265"/>
                <a:gd name="T62" fmla="*/ 531 w 571"/>
                <a:gd name="T63" fmla="*/ 131 h 1265"/>
                <a:gd name="T64" fmla="*/ 491 w 571"/>
                <a:gd name="T65" fmla="*/ 229 h 1265"/>
                <a:gd name="T66" fmla="*/ 400 w 571"/>
                <a:gd name="T67" fmla="*/ 453 h 1265"/>
                <a:gd name="T68" fmla="*/ 412 w 571"/>
                <a:gd name="T69" fmla="*/ 530 h 1265"/>
                <a:gd name="T70" fmla="*/ 404 w 571"/>
                <a:gd name="T71" fmla="*/ 723 h 1265"/>
                <a:gd name="T72" fmla="*/ 389 w 571"/>
                <a:gd name="T73" fmla="*/ 926 h 1265"/>
                <a:gd name="T74" fmla="*/ 392 w 571"/>
                <a:gd name="T75" fmla="*/ 1106 h 1265"/>
                <a:gd name="T76" fmla="*/ 368 w 571"/>
                <a:gd name="T77" fmla="*/ 1245 h 1265"/>
                <a:gd name="T78" fmla="*/ 306 w 571"/>
                <a:gd name="T79" fmla="*/ 1263 h 1265"/>
                <a:gd name="T80" fmla="*/ 267 w 571"/>
                <a:gd name="T81" fmla="*/ 1243 h 1265"/>
                <a:gd name="T82" fmla="*/ 282 w 571"/>
                <a:gd name="T83" fmla="*/ 1069 h 1265"/>
                <a:gd name="T84" fmla="*/ 281 w 571"/>
                <a:gd name="T85" fmla="*/ 910 h 1265"/>
                <a:gd name="T86" fmla="*/ 269 w 571"/>
                <a:gd name="T87" fmla="*/ 800 h 1265"/>
                <a:gd name="T88" fmla="*/ 268 w 571"/>
                <a:gd name="T89" fmla="*/ 729 h 1265"/>
                <a:gd name="T90" fmla="*/ 229 w 571"/>
                <a:gd name="T91" fmla="*/ 788 h 1265"/>
                <a:gd name="T92" fmla="*/ 191 w 571"/>
                <a:gd name="T93" fmla="*/ 847 h 1265"/>
                <a:gd name="T94" fmla="*/ 202 w 571"/>
                <a:gd name="T95" fmla="*/ 888 h 1265"/>
                <a:gd name="T96" fmla="*/ 228 w 571"/>
                <a:gd name="T97" fmla="*/ 1094 h 1265"/>
                <a:gd name="T98" fmla="*/ 68 w 571"/>
                <a:gd name="T99" fmla="*/ 1167 h 1265"/>
                <a:gd name="T100" fmla="*/ 63 w 571"/>
                <a:gd name="T101" fmla="*/ 1123 h 1265"/>
                <a:gd name="T102" fmla="*/ 108 w 571"/>
                <a:gd name="T103" fmla="*/ 1074 h 1265"/>
                <a:gd name="T104" fmla="*/ 87 w 571"/>
                <a:gd name="T105" fmla="*/ 877 h 1265"/>
                <a:gd name="T106" fmla="*/ 149 w 571"/>
                <a:gd name="T107" fmla="*/ 657 h 1265"/>
                <a:gd name="T108" fmla="*/ 202 w 571"/>
                <a:gd name="T109" fmla="*/ 536 h 1265"/>
                <a:gd name="T110" fmla="*/ 197 w 571"/>
                <a:gd name="T111" fmla="*/ 499 h 1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1" h="1265">
                  <a:moveTo>
                    <a:pt x="197" y="499"/>
                  </a:moveTo>
                  <a:cubicBezTo>
                    <a:pt x="204" y="494"/>
                    <a:pt x="210" y="404"/>
                    <a:pt x="206" y="364"/>
                  </a:cubicBezTo>
                  <a:cubicBezTo>
                    <a:pt x="204" y="345"/>
                    <a:pt x="198" y="330"/>
                    <a:pt x="192" y="329"/>
                  </a:cubicBezTo>
                  <a:cubicBezTo>
                    <a:pt x="162" y="327"/>
                    <a:pt x="127" y="293"/>
                    <a:pt x="108" y="249"/>
                  </a:cubicBezTo>
                  <a:cubicBezTo>
                    <a:pt x="98" y="223"/>
                    <a:pt x="75" y="179"/>
                    <a:pt x="58" y="151"/>
                  </a:cubicBezTo>
                  <a:cubicBezTo>
                    <a:pt x="27" y="100"/>
                    <a:pt x="27" y="100"/>
                    <a:pt x="48" y="96"/>
                  </a:cubicBezTo>
                  <a:cubicBezTo>
                    <a:pt x="59" y="94"/>
                    <a:pt x="68" y="88"/>
                    <a:pt x="67" y="82"/>
                  </a:cubicBezTo>
                  <a:cubicBezTo>
                    <a:pt x="64" y="57"/>
                    <a:pt x="76" y="76"/>
                    <a:pt x="94" y="123"/>
                  </a:cubicBezTo>
                  <a:cubicBezTo>
                    <a:pt x="105" y="151"/>
                    <a:pt x="129" y="194"/>
                    <a:pt x="147" y="217"/>
                  </a:cubicBezTo>
                  <a:lnTo>
                    <a:pt x="181" y="260"/>
                  </a:lnTo>
                  <a:lnTo>
                    <a:pt x="227" y="249"/>
                  </a:lnTo>
                  <a:cubicBezTo>
                    <a:pt x="273" y="237"/>
                    <a:pt x="279" y="229"/>
                    <a:pt x="260" y="197"/>
                  </a:cubicBezTo>
                  <a:cubicBezTo>
                    <a:pt x="257" y="192"/>
                    <a:pt x="253" y="169"/>
                    <a:pt x="253" y="146"/>
                  </a:cubicBezTo>
                  <a:cubicBezTo>
                    <a:pt x="251" y="75"/>
                    <a:pt x="285" y="55"/>
                    <a:pt x="353" y="89"/>
                  </a:cubicBezTo>
                  <a:cubicBezTo>
                    <a:pt x="390" y="108"/>
                    <a:pt x="404" y="142"/>
                    <a:pt x="387" y="172"/>
                  </a:cubicBezTo>
                  <a:cubicBezTo>
                    <a:pt x="366" y="210"/>
                    <a:pt x="373" y="213"/>
                    <a:pt x="412" y="183"/>
                  </a:cubicBezTo>
                  <a:cubicBezTo>
                    <a:pt x="432" y="167"/>
                    <a:pt x="452" y="155"/>
                    <a:pt x="456" y="155"/>
                  </a:cubicBezTo>
                  <a:cubicBezTo>
                    <a:pt x="464" y="155"/>
                    <a:pt x="488" y="114"/>
                    <a:pt x="489" y="98"/>
                  </a:cubicBezTo>
                  <a:cubicBezTo>
                    <a:pt x="489" y="92"/>
                    <a:pt x="482" y="81"/>
                    <a:pt x="473" y="74"/>
                  </a:cubicBezTo>
                  <a:cubicBezTo>
                    <a:pt x="451" y="58"/>
                    <a:pt x="452" y="51"/>
                    <a:pt x="477" y="54"/>
                  </a:cubicBezTo>
                  <a:cubicBezTo>
                    <a:pt x="492" y="56"/>
                    <a:pt x="497" y="51"/>
                    <a:pt x="499" y="32"/>
                  </a:cubicBezTo>
                  <a:cubicBezTo>
                    <a:pt x="500" y="19"/>
                    <a:pt x="504" y="6"/>
                    <a:pt x="508" y="3"/>
                  </a:cubicBezTo>
                  <a:cubicBezTo>
                    <a:pt x="511" y="0"/>
                    <a:pt x="513" y="8"/>
                    <a:pt x="512" y="21"/>
                  </a:cubicBezTo>
                  <a:lnTo>
                    <a:pt x="511" y="46"/>
                  </a:lnTo>
                  <a:lnTo>
                    <a:pt x="536" y="32"/>
                  </a:lnTo>
                  <a:cubicBezTo>
                    <a:pt x="558" y="20"/>
                    <a:pt x="560" y="20"/>
                    <a:pt x="548" y="32"/>
                  </a:cubicBezTo>
                  <a:cubicBezTo>
                    <a:pt x="537" y="44"/>
                    <a:pt x="537" y="46"/>
                    <a:pt x="550" y="47"/>
                  </a:cubicBezTo>
                  <a:cubicBezTo>
                    <a:pt x="558" y="48"/>
                    <a:pt x="562" y="52"/>
                    <a:pt x="558" y="56"/>
                  </a:cubicBezTo>
                  <a:cubicBezTo>
                    <a:pt x="555" y="61"/>
                    <a:pt x="557" y="65"/>
                    <a:pt x="562" y="66"/>
                  </a:cubicBezTo>
                  <a:cubicBezTo>
                    <a:pt x="567" y="66"/>
                    <a:pt x="571" y="71"/>
                    <a:pt x="570" y="77"/>
                  </a:cubicBezTo>
                  <a:cubicBezTo>
                    <a:pt x="570" y="82"/>
                    <a:pt x="567" y="84"/>
                    <a:pt x="564" y="81"/>
                  </a:cubicBezTo>
                  <a:cubicBezTo>
                    <a:pt x="555" y="70"/>
                    <a:pt x="533" y="102"/>
                    <a:pt x="531" y="131"/>
                  </a:cubicBezTo>
                  <a:cubicBezTo>
                    <a:pt x="528" y="164"/>
                    <a:pt x="509" y="211"/>
                    <a:pt x="491" y="229"/>
                  </a:cubicBezTo>
                  <a:cubicBezTo>
                    <a:pt x="473" y="247"/>
                    <a:pt x="402" y="421"/>
                    <a:pt x="400" y="453"/>
                  </a:cubicBezTo>
                  <a:cubicBezTo>
                    <a:pt x="399" y="467"/>
                    <a:pt x="404" y="502"/>
                    <a:pt x="412" y="530"/>
                  </a:cubicBezTo>
                  <a:cubicBezTo>
                    <a:pt x="425" y="579"/>
                    <a:pt x="425" y="589"/>
                    <a:pt x="404" y="723"/>
                  </a:cubicBezTo>
                  <a:cubicBezTo>
                    <a:pt x="387" y="838"/>
                    <a:pt x="384" y="877"/>
                    <a:pt x="389" y="926"/>
                  </a:cubicBezTo>
                  <a:cubicBezTo>
                    <a:pt x="393" y="960"/>
                    <a:pt x="394" y="1041"/>
                    <a:pt x="392" y="1106"/>
                  </a:cubicBezTo>
                  <a:cubicBezTo>
                    <a:pt x="387" y="1215"/>
                    <a:pt x="385" y="1227"/>
                    <a:pt x="368" y="1245"/>
                  </a:cubicBezTo>
                  <a:cubicBezTo>
                    <a:pt x="353" y="1261"/>
                    <a:pt x="340" y="1265"/>
                    <a:pt x="306" y="1263"/>
                  </a:cubicBezTo>
                  <a:cubicBezTo>
                    <a:pt x="267" y="1260"/>
                    <a:pt x="263" y="1258"/>
                    <a:pt x="267" y="1243"/>
                  </a:cubicBezTo>
                  <a:cubicBezTo>
                    <a:pt x="272" y="1223"/>
                    <a:pt x="271" y="1228"/>
                    <a:pt x="282" y="1069"/>
                  </a:cubicBezTo>
                  <a:cubicBezTo>
                    <a:pt x="288" y="989"/>
                    <a:pt x="287" y="935"/>
                    <a:pt x="281" y="910"/>
                  </a:cubicBezTo>
                  <a:cubicBezTo>
                    <a:pt x="275" y="888"/>
                    <a:pt x="270" y="839"/>
                    <a:pt x="269" y="800"/>
                  </a:cubicBezTo>
                  <a:lnTo>
                    <a:pt x="268" y="729"/>
                  </a:lnTo>
                  <a:lnTo>
                    <a:pt x="229" y="788"/>
                  </a:lnTo>
                  <a:lnTo>
                    <a:pt x="191" y="847"/>
                  </a:lnTo>
                  <a:lnTo>
                    <a:pt x="202" y="888"/>
                  </a:lnTo>
                  <a:cubicBezTo>
                    <a:pt x="213" y="934"/>
                    <a:pt x="228" y="1048"/>
                    <a:pt x="228" y="1094"/>
                  </a:cubicBezTo>
                  <a:cubicBezTo>
                    <a:pt x="228" y="1158"/>
                    <a:pt x="214" y="1164"/>
                    <a:pt x="68" y="1167"/>
                  </a:cubicBezTo>
                  <a:cubicBezTo>
                    <a:pt x="3" y="1169"/>
                    <a:pt x="0" y="1150"/>
                    <a:pt x="63" y="1123"/>
                  </a:cubicBezTo>
                  <a:cubicBezTo>
                    <a:pt x="102" y="1106"/>
                    <a:pt x="107" y="1101"/>
                    <a:pt x="108" y="1074"/>
                  </a:cubicBezTo>
                  <a:cubicBezTo>
                    <a:pt x="111" y="1018"/>
                    <a:pt x="99" y="906"/>
                    <a:pt x="87" y="877"/>
                  </a:cubicBezTo>
                  <a:cubicBezTo>
                    <a:pt x="67" y="830"/>
                    <a:pt x="84" y="771"/>
                    <a:pt x="149" y="657"/>
                  </a:cubicBezTo>
                  <a:cubicBezTo>
                    <a:pt x="187" y="588"/>
                    <a:pt x="204" y="550"/>
                    <a:pt x="202" y="536"/>
                  </a:cubicBezTo>
                  <a:cubicBezTo>
                    <a:pt x="196" y="501"/>
                    <a:pt x="199" y="528"/>
                    <a:pt x="197" y="4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39" name="Graphic 38" descr="Crawl">
            <a:extLst>
              <a:ext uri="{FF2B5EF4-FFF2-40B4-BE49-F238E27FC236}">
                <a16:creationId xmlns:a16="http://schemas.microsoft.com/office/drawing/2014/main" id="{E235FE78-0C3E-4C5F-9021-2D786D4A1D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7686777" y="4044474"/>
            <a:ext cx="418872" cy="418872"/>
          </a:xfrm>
          <a:prstGeom prst="rect">
            <a:avLst/>
          </a:prstGeom>
        </p:spPr>
      </p:pic>
      <p:pic>
        <p:nvPicPr>
          <p:cNvPr id="40" name="Graphic 39" descr="Walk">
            <a:extLst>
              <a:ext uri="{FF2B5EF4-FFF2-40B4-BE49-F238E27FC236}">
                <a16:creationId xmlns:a16="http://schemas.microsoft.com/office/drawing/2014/main" id="{4D2D2EF0-5C26-4DAC-8E0C-D39779F9B1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686777" y="3395588"/>
            <a:ext cx="418872" cy="418872"/>
          </a:xfrm>
          <a:prstGeom prst="rect">
            <a:avLst/>
          </a:prstGeom>
        </p:spPr>
      </p:pic>
      <p:pic>
        <p:nvPicPr>
          <p:cNvPr id="41" name="Graphic 40" descr="Run">
            <a:extLst>
              <a:ext uri="{FF2B5EF4-FFF2-40B4-BE49-F238E27FC236}">
                <a16:creationId xmlns:a16="http://schemas.microsoft.com/office/drawing/2014/main" id="{00135E3F-6ED1-4A05-A696-28FCC42932A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7686777" y="2786667"/>
            <a:ext cx="418872" cy="418872"/>
          </a:xfrm>
          <a:prstGeom prst="rect">
            <a:avLst/>
          </a:prstGeom>
        </p:spPr>
      </p:pic>
      <p:pic>
        <p:nvPicPr>
          <p:cNvPr id="42" name="Graphic 41" descr="Confused person">
            <a:extLst>
              <a:ext uri="{FF2B5EF4-FFF2-40B4-BE49-F238E27FC236}">
                <a16:creationId xmlns:a16="http://schemas.microsoft.com/office/drawing/2014/main" id="{08B97BE3-34A7-401F-9426-EDE0B11A67F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7686777" y="4666829"/>
            <a:ext cx="418872" cy="418872"/>
          </a:xfrm>
          <a:prstGeom prst="rect">
            <a:avLst/>
          </a:prstGeom>
        </p:spPr>
      </p:pic>
      <p:pic>
        <p:nvPicPr>
          <p:cNvPr id="43" name="Graphic 42" descr="Man">
            <a:extLst>
              <a:ext uri="{FF2B5EF4-FFF2-40B4-BE49-F238E27FC236}">
                <a16:creationId xmlns:a16="http://schemas.microsoft.com/office/drawing/2014/main" id="{56878698-CEA8-497B-AA66-5903E5BB955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7686777" y="5197349"/>
            <a:ext cx="418872" cy="418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456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*danger*demonstration*protest*message*man*peop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*danger*demonstration*protest*message*man*peop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</TotalTime>
  <Words>316</Words>
  <Application>Microsoft Office PowerPoint</Application>
  <PresentationFormat>Widescreen</PresentationFormat>
  <Paragraphs>28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ca Majora 3 Bold</vt:lpstr>
      <vt:lpstr>Arial</vt:lpstr>
      <vt:lpstr>Bebas Neue Bold</vt:lpstr>
      <vt:lpstr>Calibri</vt:lpstr>
      <vt:lpstr>Calibri Light</vt:lpstr>
      <vt:lpstr>Economica</vt:lpstr>
      <vt:lpstr>Office Theme</vt:lpstr>
      <vt:lpstr>Custom Desig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Name</dc:creator>
  <cp:lastModifiedBy>Palak Jain</cp:lastModifiedBy>
  <cp:revision>38</cp:revision>
  <dcterms:created xsi:type="dcterms:W3CDTF">2018-01-31T07:11:03Z</dcterms:created>
  <dcterms:modified xsi:type="dcterms:W3CDTF">2020-10-05T16:19:29Z</dcterms:modified>
</cp:coreProperties>
</file>